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0825" autoAdjust="0"/>
    <p:restoredTop sz="94660"/>
  </p:normalViewPr>
  <p:slideViewPr>
    <p:cSldViewPr snapToGrid="0">
      <p:cViewPr varScale="1">
        <p:scale>
          <a:sx n="66" d="100"/>
          <a:sy n="66" d="100"/>
        </p:scale>
        <p:origin x="6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FCFC5F-7D7F-45B6-98F0-9A95404E8A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EEFF34E-841D-415A-BE4C-FA13AFD967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B6038A-B86F-4150-9928-795FA6596F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500A4B-41A0-4A31-8FC5-F2615ADFEAFC}" type="datetimeFigureOut">
              <a:rPr lang="en-US" smtClean="0"/>
              <a:t>11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2A5734-D9A0-4FE8-BFD4-2106B8C87C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5D7866-8B2F-4C7A-8C25-B18A9F2904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AB585-2F80-438E-BF69-31562AB141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238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011A70-53EA-4DAB-8284-97A8848471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D3546A4-B639-48D7-962D-AE34FD577AC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3191FD-B190-429A-86AD-CF7FFF76FE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500A4B-41A0-4A31-8FC5-F2615ADFEAFC}" type="datetimeFigureOut">
              <a:rPr lang="en-US" smtClean="0"/>
              <a:t>11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8E2E58-A283-4448-80EE-24FB474EEF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DE0AF8-6020-4780-8130-07027597BA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AB585-2F80-438E-BF69-31562AB141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4540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3AA174C-45A0-49A0-BC3F-F0D87131DD8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36F12CB-2FF7-4C3D-A950-8BD7EC025F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77913B-753C-4B80-A089-872DFF105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500A4B-41A0-4A31-8FC5-F2615ADFEAFC}" type="datetimeFigureOut">
              <a:rPr lang="en-US" smtClean="0"/>
              <a:t>11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A1E5F8-D144-4389-9708-1615CF05DF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F4EF16-54F7-40D8-BCD6-460A1BFF2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AB585-2F80-438E-BF69-31562AB141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0879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1DEB81-57C0-4C3D-9E21-3631D831FF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93FD28-B1D7-45E4-B449-BF83BE1D6F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E55C8A-C1D4-43A6-A304-E808493141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500A4B-41A0-4A31-8FC5-F2615ADFEAFC}" type="datetimeFigureOut">
              <a:rPr lang="en-US" smtClean="0"/>
              <a:t>11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1EF275-2451-4C19-9FFA-A2C128212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5FBBB0-2E96-4E5D-BAE2-3D0970A4DA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AB585-2F80-438E-BF69-31562AB141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86685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D58306-09ED-4490-B109-07516D64D1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9DB671-E5D0-4F9B-9889-E16BE1B3C5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7E0F31-B758-4E12-AC3F-87960684A1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500A4B-41A0-4A31-8FC5-F2615ADFEAFC}" type="datetimeFigureOut">
              <a:rPr lang="en-US" smtClean="0"/>
              <a:t>11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E94863-90BA-4D3C-A14D-6EF1C2D3EF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068F28-8D49-4A42-BD3E-4796D364A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AB585-2F80-438E-BF69-31562AB141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782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4D8294-C31E-484E-857B-4B19F18153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A977D3-36F2-4E4C-9E6E-0C5FA24B2D8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BCAB7D-81FC-40B6-B5F8-BD76719D18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04934E-81FE-4DF3-B313-F853EFF2EE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500A4B-41A0-4A31-8FC5-F2615ADFEAFC}" type="datetimeFigureOut">
              <a:rPr lang="en-US" smtClean="0"/>
              <a:t>11/1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B71614-C195-462D-820F-39273D8139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506DAF-4A3B-4A2F-82C7-493FA5B2E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AB585-2F80-438E-BF69-31562AB141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4705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4827A1-6DB8-4780-96D2-A53BF1518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EBA7C4-15EC-4658-A518-5C50325861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286C26D-7BED-4D25-9204-AE380883BB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B47ADA-14F3-4211-9BD5-6371DE101D1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885C6ED-A36C-4119-8637-D629FB32B16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55670B9-018C-441F-955F-BEF406DCCB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500A4B-41A0-4A31-8FC5-F2615ADFEAFC}" type="datetimeFigureOut">
              <a:rPr lang="en-US" smtClean="0"/>
              <a:t>11/1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9FA3EAF-58BA-4E3E-8206-DDFEF86C92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584FE68-B5DE-457C-B9C3-ED9F24B6C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AB585-2F80-438E-BF69-31562AB141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86736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FE82AB-8764-4B87-AEFA-B66EB3C5E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1B9CFE-EB06-4476-9690-6F020C139B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500A4B-41A0-4A31-8FC5-F2615ADFEAFC}" type="datetimeFigureOut">
              <a:rPr lang="en-US" smtClean="0"/>
              <a:t>11/1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563C0A-3A7B-4BD5-BF0F-FED4E72384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BE9709-DCEC-4EC0-9550-F8017B04BA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AB585-2F80-438E-BF69-31562AB141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3197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D4C7BF9-A86F-4960-A0B3-70DBEFDC15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500A4B-41A0-4A31-8FC5-F2615ADFEAFC}" type="datetimeFigureOut">
              <a:rPr lang="en-US" smtClean="0"/>
              <a:t>11/13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5E280CE-35B5-4498-BDAD-8D9143D61F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BA6514-6FCD-4EB6-99E9-148A0FD94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AB585-2F80-438E-BF69-31562AB141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4005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9B9C64-0463-4265-A87B-17DAD3017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F4847C-78AA-4FC8-961A-64F505AA23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CD59B4-FBB5-46AF-9877-99B3288110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D5E5862-E352-4ED5-9732-6288EC1E94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500A4B-41A0-4A31-8FC5-F2615ADFEAFC}" type="datetimeFigureOut">
              <a:rPr lang="en-US" smtClean="0"/>
              <a:t>11/1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0C00FA-F76A-4849-92FA-34DAEDFA8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D40EC9-9DE0-45F2-B437-54F4795A9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AB585-2F80-438E-BF69-31562AB141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724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2F313B-FF0C-4938-A859-FD888209E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F301FC3-4CD2-41A4-A7B1-9CFBF3131DF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C673DA-0199-46A0-B120-414ED4314F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D1DA7B-3D86-4E9B-9BF7-5351841022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500A4B-41A0-4A31-8FC5-F2615ADFEAFC}" type="datetimeFigureOut">
              <a:rPr lang="en-US" smtClean="0"/>
              <a:t>11/1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B23270-8843-4A83-AFF0-3F271C556D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E377D3-1487-47A1-851C-B6BF8EA90E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AB585-2F80-438E-BF69-31562AB141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3142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9EC29CB-01E6-4842-8EEB-1BD7892925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77273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2C7AC3-E84E-432C-A69B-AF1998148C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69C482-5707-4992-A36F-CC56E7E1E8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DB983B-C6A6-4D4C-92CC-6AFE2EDFF6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500A4B-41A0-4A31-8FC5-F2615ADFEAFC}" type="datetimeFigureOut">
              <a:rPr lang="en-US" smtClean="0"/>
              <a:t>11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AA875B-4773-4A25-9AFC-0BD3006E73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915634-2D02-4393-BDEF-A4213EC81A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AAB585-2F80-438E-BF69-31562AB141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093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1F588A-DC85-4A05-ADA0-E641CFB7149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11CBA9-7199-418A-B78B-9A3599E8A72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354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A90E017-F5EC-432A-8284-2670F79597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4753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8DE55D38-520F-4302-9247-93BB8942F05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23142" y="59131"/>
            <a:ext cx="4027278" cy="516920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EEE04E2-5399-49A3-B064-40113513CD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200" y="59131"/>
            <a:ext cx="3848909" cy="512714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8E63751-D7FC-48CA-B296-D56199A62A2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33192" y="38099"/>
            <a:ext cx="3882608" cy="5148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9651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98B70FB-146C-4B12-A0CB-70C3A568DD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912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E787C8F0-FA41-490C-BC69-4ABE846BC6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4159" y="3269627"/>
            <a:ext cx="11508741" cy="19284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002D5F9-7FAC-40B9-989E-EBB77AC0B00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4159" y="295275"/>
            <a:ext cx="7060565" cy="2328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3035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6096F2-D8DD-42EB-B3AE-EE247557E4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AC9C2D-1F3F-4C6E-A4EA-2F4124C04D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7E0E96F-5061-4499-8E48-EE418F8E1F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7572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0FA005-905F-4C10-BE46-08B673224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35C8BD-4D43-46EE-878C-96AB9D6C68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003663-3990-410F-979A-BE081F396C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1321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C063D3-F413-4006-BFC6-BD111FF57B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9449D5-51C2-4FD9-8DCF-E6ED80379E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1D4FCE-F780-47CD-8932-688435060A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7655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5A947B-EC2E-419F-B74F-30D95076DB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3447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26DBB6-3064-4662-B788-479E9D73D9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 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272259-9C2D-4569-8420-0B5EB02CC3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1F1442-B476-4CE0-9402-2759C98AF5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9525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7067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3EE864-FEB5-4565-B6AA-5947FBD28E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365974-3B23-484C-A243-BF9D976B5E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53A45FF-7552-445F-A53F-62D5B33DC7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2322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37A397-E9B0-4EC5-AF10-E0824835C0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B1F58C-8BD2-41D2-A132-9013813B94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E7E3FCF-BFCE-423E-9069-5C05E439FE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2499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59C8FD-A4B7-449B-93D9-E642065D1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046D60-12CC-4391-8BC4-8D1469AF1B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6BE9F24-DB9A-4BFD-9613-47609901B3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6430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1B6FA9-2F77-41E4-96D1-E77E295CCA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D1A867-0933-46D1-9615-69CF107536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87A1420-DE76-4997-9F05-06067F5C63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8955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D8943B1-BE91-48DB-A94E-3DB43E9022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208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E1E85E43-15A3-4E71-A504-8523AE364C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6945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78E3A5-47BE-42DF-B54B-F01801365E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FD377C-C440-4818-8E63-26D94A9444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37EFAB7-2910-4F45-9636-3A8B176452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0779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A83AE08-2543-4748-9205-C020E52D58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7162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045899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6DB09E2-D3D7-4C78-8912-D6531DF700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6476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621113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8DCEB73-BA14-441B-8AE7-8CB47C116E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015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683E0CB-A12D-4794-BC18-0778648597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5660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2BC7B67-F0A9-4FA4-A091-3C6821B082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6373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D1C859E3-F6FE-45C6-BECA-0EF6A19761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3575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911D2A9-23DA-4053-AB82-700DDDBD90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2667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15D959B7-333A-4D65-860D-4912BBDD981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80300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D550463-F936-4443-99E1-17C2823F0A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4048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00E5018C-93C4-415E-AD2F-662802F86AF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30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F727D54-DC7A-4589-AB5A-2833BFBA67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5860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F658B4F-83DC-4E1E-A701-9AAB344910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5412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B20CE92-EBD2-44E7-9CDA-4367267D6A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468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0C0340A6-178E-4603-9162-F071341DCEE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B309C7D-6E71-4637-9087-673CC26474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1450" y="107510"/>
            <a:ext cx="4262437" cy="425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9891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2BE489C-C522-4AAB-B2E6-76FA323249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8619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49EC82D2-2384-43E5-A7F3-1751FEFBCB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2719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87</TotalTime>
  <Words>2</Words>
  <Application>Microsoft Office PowerPoint</Application>
  <PresentationFormat>Widescreen</PresentationFormat>
  <Paragraphs>1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7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iket Chhabra</dc:creator>
  <cp:lastModifiedBy>Aniket Chhabra</cp:lastModifiedBy>
  <cp:revision>2</cp:revision>
  <dcterms:created xsi:type="dcterms:W3CDTF">2021-11-13T18:13:23Z</dcterms:created>
  <dcterms:modified xsi:type="dcterms:W3CDTF">2021-11-14T04:01:08Z</dcterms:modified>
</cp:coreProperties>
</file>